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  <p:sldMasterId id="2147483652" r:id="rId2"/>
  </p:sldMasterIdLst>
  <p:notesMasterIdLst>
    <p:notesMasterId r:id="rId4"/>
  </p:notesMasterIdLst>
  <p:handoutMasterIdLst>
    <p:handoutMasterId r:id="rId5"/>
  </p:handoutMasterIdLst>
  <p:sldIdLst>
    <p:sldId id="421" r:id="rId3"/>
  </p:sldIdLst>
  <p:sldSz cx="9144000" cy="6858000" type="screen4x3"/>
  <p:notesSz cx="6858000" cy="9144000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300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79" autoAdjust="0"/>
    <p:restoredTop sz="80263" autoAdjust="0"/>
  </p:normalViewPr>
  <p:slideViewPr>
    <p:cSldViewPr>
      <p:cViewPr varScale="1">
        <p:scale>
          <a:sx n="70" d="100"/>
          <a:sy n="70" d="100"/>
        </p:scale>
        <p:origin x="1386" y="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>
        <p:scale>
          <a:sx n="66" d="100"/>
          <a:sy n="66" d="100"/>
        </p:scale>
        <p:origin x="-1589" y="61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fld id="{E0EDD609-FFD2-4289-BD71-72F834C1FF10}" type="datetimeFigureOut">
              <a:rPr lang="zh-CN" altLang="en-US"/>
              <a:pPr>
                <a:defRPr/>
              </a:pPr>
              <a:t>2016-07-0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fld id="{F0BC1E7D-1E10-4AF3-8710-6642FDC921A6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027694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easthome.com/" TargetMode="External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华文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505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  <a:ea typeface="华文宋体" pitchFamily="2" charset="-122"/>
              </a:defRPr>
            </a:lvl1pPr>
          </a:lstStyle>
          <a:p>
            <a:pPr>
              <a:defRPr/>
            </a:pPr>
            <a:fld id="{EF82657E-37E9-4428-8CD7-77865882C2F1}" type="datetimeFigureOut">
              <a:rPr lang="zh-CN" altLang="en-US"/>
              <a:pPr>
                <a:defRPr/>
              </a:pPr>
              <a:t>2016-07-06</a:t>
            </a:fld>
            <a:endParaRPr lang="en-US" altLang="zh-CN"/>
          </a:p>
        </p:txBody>
      </p:sp>
      <p:sp>
        <p:nvSpPr>
          <p:cNvPr id="286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506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华文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506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  <a:ea typeface="华文宋体" pitchFamily="2" charset="-122"/>
              </a:defRPr>
            </a:lvl1pPr>
          </a:lstStyle>
          <a:p>
            <a:pPr>
              <a:defRPr/>
            </a:pPr>
            <a:fld id="{59834028-0911-4C19-8556-714B3E2F6DE8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  <p:cxnSp>
        <p:nvCxnSpPr>
          <p:cNvPr id="9" name="直接连接符 8"/>
          <p:cNvCxnSpPr/>
          <p:nvPr/>
        </p:nvCxnSpPr>
        <p:spPr>
          <a:xfrm>
            <a:off x="914400" y="4724400"/>
            <a:ext cx="502920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914400" y="5029200"/>
            <a:ext cx="502920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/>
        </p:nvCxnSpPr>
        <p:spPr>
          <a:xfrm>
            <a:off x="914400" y="5334000"/>
            <a:ext cx="502920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>
            <a:off x="914400" y="5638800"/>
            <a:ext cx="502920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/>
          <p:nvPr/>
        </p:nvCxnSpPr>
        <p:spPr>
          <a:xfrm>
            <a:off x="914400" y="5943600"/>
            <a:ext cx="502920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>
            <a:off x="914400" y="6248400"/>
            <a:ext cx="502920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/>
        </p:nvCxnSpPr>
        <p:spPr>
          <a:xfrm>
            <a:off x="914400" y="6553200"/>
            <a:ext cx="502920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/>
        </p:nvCxnSpPr>
        <p:spPr>
          <a:xfrm>
            <a:off x="914400" y="6858000"/>
            <a:ext cx="502920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/>
        </p:nvCxnSpPr>
        <p:spPr>
          <a:xfrm>
            <a:off x="914400" y="7162800"/>
            <a:ext cx="502920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/>
        </p:nvCxnSpPr>
        <p:spPr>
          <a:xfrm>
            <a:off x="914400" y="7467600"/>
            <a:ext cx="502920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/>
          <p:cNvCxnSpPr/>
          <p:nvPr/>
        </p:nvCxnSpPr>
        <p:spPr>
          <a:xfrm>
            <a:off x="914400" y="7772400"/>
            <a:ext cx="502920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/>
          <p:nvPr/>
        </p:nvCxnSpPr>
        <p:spPr>
          <a:xfrm>
            <a:off x="914400" y="8077200"/>
            <a:ext cx="502920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0" y="8534400"/>
            <a:ext cx="6858000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zh-CN" altLang="en-US" sz="1200" dirty="0">
                <a:latin typeface="Arial" charset="0"/>
              </a:rPr>
              <a:t>东方瑞通（北京）咨询服务有限公司</a:t>
            </a:r>
            <a:r>
              <a:rPr lang="en-US" sz="1200" dirty="0">
                <a:latin typeface="Arial" charset="0"/>
              </a:rPr>
              <a:t>	  </a:t>
            </a:r>
            <a:r>
              <a:rPr lang="en-US" sz="1200" u="sng" dirty="0">
                <a:latin typeface="Arial" charset="0"/>
                <a:hlinkClick r:id="rId2"/>
              </a:rPr>
              <a:t>http://www.easthome.com</a:t>
            </a:r>
            <a:r>
              <a:rPr lang="en-US" sz="1200" dirty="0">
                <a:latin typeface="Arial" charset="0"/>
              </a:rPr>
              <a:t>	010-51905758</a:t>
            </a:r>
            <a:endParaRPr lang="zh-CN" altLang="en-US" sz="1200" dirty="0">
              <a:latin typeface="Arial" charset="0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381000" y="76200"/>
            <a:ext cx="2312988" cy="3698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dirty="0">
                <a:solidFill>
                  <a:schemeClr val="tx2"/>
                </a:solidFill>
                <a:latin typeface="Arial" charset="0"/>
              </a:rPr>
              <a:t>第</a:t>
            </a:r>
            <a:r>
              <a:rPr lang="en-US" altLang="zh-CN" dirty="0">
                <a:solidFill>
                  <a:schemeClr val="tx2"/>
                </a:solidFill>
                <a:latin typeface="Arial" charset="0"/>
              </a:rPr>
              <a:t>1</a:t>
            </a:r>
            <a:r>
              <a:rPr lang="zh-CN" altLang="en-US" dirty="0">
                <a:solidFill>
                  <a:schemeClr val="tx2"/>
                </a:solidFill>
                <a:latin typeface="Arial" charset="0"/>
              </a:rPr>
              <a:t>章 </a:t>
            </a:r>
            <a:r>
              <a:rPr lang="en-US" altLang="zh-CN" dirty="0">
                <a:solidFill>
                  <a:schemeClr val="tx2"/>
                </a:solidFill>
                <a:latin typeface="Arial" charset="0"/>
              </a:rPr>
              <a:t>ITIL/ITSM</a:t>
            </a:r>
            <a:r>
              <a:rPr lang="zh-CN" altLang="en-US" dirty="0">
                <a:solidFill>
                  <a:schemeClr val="tx2"/>
                </a:solidFill>
                <a:latin typeface="Arial" charset="0"/>
              </a:rPr>
              <a:t>介绍</a:t>
            </a:r>
            <a:endParaRPr lang="zh-CN" alt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90271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7"/>
          <p:cNvSpPr txBox="1">
            <a:spLocks noGrp="1" noChangeArrowheads="1"/>
          </p:cNvSpPr>
          <p:nvPr/>
        </p:nvSpPr>
        <p:spPr bwMode="auto">
          <a:xfrm>
            <a:off x="3884463" y="8683711"/>
            <a:ext cx="2972004" cy="458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873" tIns="46436" rIns="92873" bIns="46436" anchor="b"/>
          <a:lstStyle>
            <a:lvl1pPr defTabSz="928688" eaLnBrk="0" hangingPunct="0">
              <a:defRPr sz="14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defTabSz="928688" eaLnBrk="0" hangingPunct="0">
              <a:defRPr sz="14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defTabSz="928688" eaLnBrk="0" hangingPunct="0">
              <a:defRPr sz="14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defTabSz="928688" eaLnBrk="0" hangingPunct="0">
              <a:defRPr sz="14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defTabSz="928688" eaLnBrk="0" hangingPunct="0">
              <a:defRPr sz="14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r" eaLnBrk="1" hangingPunct="1"/>
            <a:fld id="{D78BE5FC-57EE-4D62-A977-4216B1971BC0}" type="slidenum">
              <a:rPr lang="en-AU" altLang="zh-CN" sz="1200"/>
              <a:pPr algn="r" eaLnBrk="1" hangingPunct="1"/>
              <a:t>1</a:t>
            </a:fld>
            <a:endParaRPr lang="en-AU" altLang="zh-CN" sz="1200"/>
          </a:p>
        </p:txBody>
      </p:sp>
      <p:sp>
        <p:nvSpPr>
          <p:cNvPr id="6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795463" y="1179513"/>
            <a:ext cx="10414001" cy="7812087"/>
          </a:xfrm>
          <a:ln/>
        </p:spPr>
      </p:sp>
      <p:sp>
        <p:nvSpPr>
          <p:cNvPr id="624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20446" y="339811"/>
            <a:ext cx="5842795" cy="29347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873" tIns="46436" rIns="92873" bIns="46436"/>
          <a:lstStyle/>
          <a:p>
            <a:endParaRPr lang="en-GB" altLang="zh-CN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37545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咨询热线 </a:t>
            </a:r>
            <a:r>
              <a:rPr lang="en-US" altLang="zh-CN">
                <a:latin typeface="新宋体" pitchFamily="49" charset="-122"/>
                <a:ea typeface="新宋体" pitchFamily="49" charset="-122"/>
              </a:rPr>
              <a:t>010-51905758</a:t>
            </a:r>
            <a:r>
              <a:rPr lang="zh-CN" altLang="en-US"/>
              <a:t>　</a:t>
            </a:r>
            <a:r>
              <a:rPr lang="zh-CN" altLang="en-US">
                <a:latin typeface="Bookman" pitchFamily="18" charset="0"/>
              </a:rPr>
              <a:t>Ｈ</a:t>
            </a:r>
            <a:r>
              <a:rPr lang="en-US" altLang="zh-CN">
                <a:latin typeface="Bookman" pitchFamily="18" charset="0"/>
              </a:rPr>
              <a:t>ttp://www.easthome.com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EAE594-C7BC-4C61-ABF9-8ADFD7E3F385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咨询热线 </a:t>
            </a:r>
            <a:r>
              <a:rPr lang="en-US" altLang="zh-CN">
                <a:latin typeface="新宋体" pitchFamily="49" charset="-122"/>
                <a:ea typeface="新宋体" pitchFamily="49" charset="-122"/>
              </a:rPr>
              <a:t>010-51905758</a:t>
            </a:r>
            <a:r>
              <a:rPr lang="zh-CN" altLang="en-US"/>
              <a:t>　</a:t>
            </a:r>
            <a:r>
              <a:rPr lang="zh-CN" altLang="en-US">
                <a:latin typeface="Bookman" pitchFamily="18" charset="0"/>
              </a:rPr>
              <a:t>Ｈ</a:t>
            </a:r>
            <a:r>
              <a:rPr lang="en-US" altLang="zh-CN">
                <a:latin typeface="Bookman" pitchFamily="18" charset="0"/>
              </a:rPr>
              <a:t>ttp://www.easthome.com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BD2D50-66A7-4B23-A52B-5F30947828BC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咨询热线 </a:t>
            </a:r>
            <a:r>
              <a:rPr lang="en-US" altLang="zh-CN">
                <a:latin typeface="新宋体" pitchFamily="49" charset="-122"/>
                <a:ea typeface="新宋体" pitchFamily="49" charset="-122"/>
              </a:rPr>
              <a:t>010-51905758</a:t>
            </a:r>
            <a:r>
              <a:rPr lang="zh-CN" altLang="en-US"/>
              <a:t>　</a:t>
            </a:r>
            <a:r>
              <a:rPr lang="zh-CN" altLang="en-US">
                <a:latin typeface="Bookman" pitchFamily="18" charset="0"/>
              </a:rPr>
              <a:t>Ｈ</a:t>
            </a:r>
            <a:r>
              <a:rPr lang="en-US" altLang="zh-CN">
                <a:latin typeface="Bookman" pitchFamily="18" charset="0"/>
              </a:rPr>
              <a:t>ttp://www.easthome.com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3CA7FA-D99F-45D6-BD9B-481085024514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AF6EFF-B660-4F4F-BEC3-0A940A2E34D5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咨询热线 </a:t>
            </a:r>
            <a:r>
              <a:rPr lang="en-US" altLang="zh-CN">
                <a:latin typeface="新宋体" pitchFamily="49" charset="-122"/>
                <a:ea typeface="新宋体" pitchFamily="49" charset="-122"/>
              </a:rPr>
              <a:t>010-51905758</a:t>
            </a:r>
            <a:r>
              <a:rPr lang="zh-CN" altLang="en-US"/>
              <a:t>　</a:t>
            </a:r>
            <a:r>
              <a:rPr lang="zh-CN" altLang="en-US">
                <a:latin typeface="Bookman" pitchFamily="18" charset="0"/>
              </a:rPr>
              <a:t>Ｈ</a:t>
            </a:r>
            <a:r>
              <a:rPr lang="en-US" altLang="zh-CN">
                <a:latin typeface="Bookman" pitchFamily="18" charset="0"/>
              </a:rPr>
              <a:t>ttp://www.easthome.com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F4C21-6464-42F6-84CE-E321F4A26A34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咨询热线 </a:t>
            </a:r>
            <a:r>
              <a:rPr lang="en-US" altLang="zh-CN">
                <a:latin typeface="新宋体" pitchFamily="49" charset="-122"/>
                <a:ea typeface="新宋体" pitchFamily="49" charset="-122"/>
              </a:rPr>
              <a:t>010-51905758</a:t>
            </a:r>
            <a:r>
              <a:rPr lang="zh-CN" altLang="en-US"/>
              <a:t>　</a:t>
            </a:r>
            <a:r>
              <a:rPr lang="zh-CN" altLang="en-US">
                <a:latin typeface="Bookman" pitchFamily="18" charset="0"/>
              </a:rPr>
              <a:t>Ｈ</a:t>
            </a:r>
            <a:r>
              <a:rPr lang="en-US" altLang="zh-CN">
                <a:latin typeface="Bookman" pitchFamily="18" charset="0"/>
              </a:rPr>
              <a:t>ttp://www.easthome.com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E33C6E-BD67-4BA9-8C1A-7DF1339C36F4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咨询热线 </a:t>
            </a:r>
            <a:r>
              <a:rPr lang="en-US" altLang="zh-CN">
                <a:latin typeface="新宋体" pitchFamily="49" charset="-122"/>
                <a:ea typeface="新宋体" pitchFamily="49" charset="-122"/>
              </a:rPr>
              <a:t>010-51905758</a:t>
            </a:r>
            <a:r>
              <a:rPr lang="zh-CN" altLang="en-US"/>
              <a:t>　</a:t>
            </a:r>
            <a:r>
              <a:rPr lang="zh-CN" altLang="en-US">
                <a:latin typeface="Bookman" pitchFamily="18" charset="0"/>
              </a:rPr>
              <a:t>Ｈ</a:t>
            </a:r>
            <a:r>
              <a:rPr lang="en-US" altLang="zh-CN">
                <a:latin typeface="Bookman" pitchFamily="18" charset="0"/>
              </a:rPr>
              <a:t>ttp://www.easthome.com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8CB74-B5C9-4D3A-A0ED-4AEC3416FC21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咨询热线 </a:t>
            </a:r>
            <a:r>
              <a:rPr lang="en-US" altLang="zh-CN">
                <a:latin typeface="新宋体" pitchFamily="49" charset="-122"/>
                <a:ea typeface="新宋体" pitchFamily="49" charset="-122"/>
              </a:rPr>
              <a:t>010-51905758</a:t>
            </a:r>
            <a:r>
              <a:rPr lang="zh-CN" altLang="en-US"/>
              <a:t>　</a:t>
            </a:r>
            <a:r>
              <a:rPr lang="zh-CN" altLang="en-US">
                <a:latin typeface="Bookman" pitchFamily="18" charset="0"/>
              </a:rPr>
              <a:t>Ｈ</a:t>
            </a:r>
            <a:r>
              <a:rPr lang="en-US" altLang="zh-CN">
                <a:latin typeface="Bookman" pitchFamily="18" charset="0"/>
              </a:rPr>
              <a:t>ttp://www.easthome.com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BE4ACC-46AC-46EC-9F77-F22FF874E52D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sp>
        <p:nvSpPr>
          <p:cNvPr id="9" name="Rectangle 15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咨询热线 </a:t>
            </a:r>
            <a:r>
              <a:rPr lang="en-US" altLang="zh-CN">
                <a:latin typeface="新宋体" pitchFamily="49" charset="-122"/>
                <a:ea typeface="新宋体" pitchFamily="49" charset="-122"/>
              </a:rPr>
              <a:t>010-51905758</a:t>
            </a:r>
            <a:r>
              <a:rPr lang="zh-CN" altLang="en-US"/>
              <a:t>　</a:t>
            </a:r>
            <a:r>
              <a:rPr lang="zh-CN" altLang="en-US">
                <a:latin typeface="Bookman" pitchFamily="18" charset="0"/>
              </a:rPr>
              <a:t>Ｈ</a:t>
            </a:r>
            <a:r>
              <a:rPr lang="en-US" altLang="zh-CN">
                <a:latin typeface="Bookman" pitchFamily="18" charset="0"/>
              </a:rPr>
              <a:t>ttp://www.easthome.com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24F83D-F0CF-44FB-973B-79BA5C6DC132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咨询热线 </a:t>
            </a:r>
            <a:r>
              <a:rPr lang="en-US" altLang="zh-CN">
                <a:latin typeface="新宋体" pitchFamily="49" charset="-122"/>
                <a:ea typeface="新宋体" pitchFamily="49" charset="-122"/>
              </a:rPr>
              <a:t>010-51905758</a:t>
            </a:r>
            <a:r>
              <a:rPr lang="zh-CN" altLang="en-US"/>
              <a:t>　</a:t>
            </a:r>
            <a:r>
              <a:rPr lang="zh-CN" altLang="en-US">
                <a:latin typeface="Bookman" pitchFamily="18" charset="0"/>
              </a:rPr>
              <a:t>Ｈ</a:t>
            </a:r>
            <a:r>
              <a:rPr lang="en-US" altLang="zh-CN">
                <a:latin typeface="Bookman" pitchFamily="18" charset="0"/>
              </a:rPr>
              <a:t>ttp://www.easthome.com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879E5D-7AA7-4241-A754-92A942D7359D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咨询热线 </a:t>
            </a:r>
            <a:r>
              <a:rPr lang="en-US" altLang="zh-CN">
                <a:latin typeface="新宋体" pitchFamily="49" charset="-122"/>
                <a:ea typeface="新宋体" pitchFamily="49" charset="-122"/>
              </a:rPr>
              <a:t>010-51905758</a:t>
            </a:r>
            <a:r>
              <a:rPr lang="zh-CN" altLang="en-US"/>
              <a:t>　</a:t>
            </a:r>
            <a:r>
              <a:rPr lang="zh-CN" altLang="en-US">
                <a:latin typeface="Bookman" pitchFamily="18" charset="0"/>
              </a:rPr>
              <a:t>Ｈ</a:t>
            </a:r>
            <a:r>
              <a:rPr lang="en-US" altLang="zh-CN">
                <a:latin typeface="Bookman" pitchFamily="18" charset="0"/>
              </a:rPr>
              <a:t>ttp://www.easthome.com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115043-680B-4A51-B2EB-EC885EE3E153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咨询热线 </a:t>
            </a:r>
            <a:r>
              <a:rPr lang="en-US" altLang="zh-CN">
                <a:latin typeface="新宋体" pitchFamily="49" charset="-122"/>
                <a:ea typeface="新宋体" pitchFamily="49" charset="-122"/>
              </a:rPr>
              <a:t>010-51905758</a:t>
            </a:r>
            <a:r>
              <a:rPr lang="zh-CN" altLang="en-US"/>
              <a:t>　</a:t>
            </a:r>
            <a:r>
              <a:rPr lang="zh-CN" altLang="en-US">
                <a:latin typeface="Bookman" pitchFamily="18" charset="0"/>
              </a:rPr>
              <a:t>Ｈ</a:t>
            </a:r>
            <a:r>
              <a:rPr lang="en-US" altLang="zh-CN">
                <a:latin typeface="Bookman" pitchFamily="18" charset="0"/>
              </a:rPr>
              <a:t>ttp://www.easthome.com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咨询热线 </a:t>
            </a:r>
            <a:r>
              <a:rPr lang="en-US" altLang="zh-CN">
                <a:latin typeface="新宋体" pitchFamily="49" charset="-122"/>
                <a:ea typeface="新宋体" pitchFamily="49" charset="-122"/>
              </a:rPr>
              <a:t>010-51905758</a:t>
            </a:r>
            <a:r>
              <a:rPr lang="zh-CN" altLang="en-US"/>
              <a:t>　</a:t>
            </a:r>
            <a:r>
              <a:rPr lang="zh-CN" altLang="en-US">
                <a:latin typeface="Bookman" pitchFamily="18" charset="0"/>
              </a:rPr>
              <a:t>Ｈ</a:t>
            </a:r>
            <a:r>
              <a:rPr lang="en-US" altLang="zh-CN">
                <a:latin typeface="Bookman" pitchFamily="18" charset="0"/>
              </a:rPr>
              <a:t>ttp://www.easthome.com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B98A89-1C5D-4B03-A9FD-888D09BB55CA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F56DA5-BFD3-456D-96CA-E7B4EFAFE157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咨询热线 </a:t>
            </a:r>
            <a:r>
              <a:rPr lang="en-US" altLang="zh-CN">
                <a:latin typeface="新宋体" pitchFamily="49" charset="-122"/>
                <a:ea typeface="新宋体" pitchFamily="49" charset="-122"/>
              </a:rPr>
              <a:t>010-51905758</a:t>
            </a:r>
            <a:r>
              <a:rPr lang="zh-CN" altLang="en-US"/>
              <a:t>　</a:t>
            </a:r>
            <a:r>
              <a:rPr lang="zh-CN" altLang="en-US">
                <a:latin typeface="Bookman" pitchFamily="18" charset="0"/>
              </a:rPr>
              <a:t>Ｈ</a:t>
            </a:r>
            <a:r>
              <a:rPr lang="en-US" altLang="zh-CN">
                <a:latin typeface="Bookman" pitchFamily="18" charset="0"/>
              </a:rPr>
              <a:t>ttp://www.easthome.com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2D664F-9E37-4ED0-9C6C-1AE53BF065F3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咨询热线 </a:t>
            </a:r>
            <a:r>
              <a:rPr lang="en-US" altLang="zh-CN">
                <a:latin typeface="新宋体" pitchFamily="49" charset="-122"/>
                <a:ea typeface="新宋体" pitchFamily="49" charset="-122"/>
              </a:rPr>
              <a:t>010-51905758</a:t>
            </a:r>
            <a:r>
              <a:rPr lang="zh-CN" altLang="en-US"/>
              <a:t>　</a:t>
            </a:r>
            <a:r>
              <a:rPr lang="zh-CN" altLang="en-US">
                <a:latin typeface="Bookman" pitchFamily="18" charset="0"/>
              </a:rPr>
              <a:t>Ｈ</a:t>
            </a:r>
            <a:r>
              <a:rPr lang="en-US" altLang="zh-CN">
                <a:latin typeface="Bookman" pitchFamily="18" charset="0"/>
              </a:rPr>
              <a:t>ttp://www.easthome.com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F3FAA6-4769-4EE2-93A6-642EB8FD1F6E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咨询热线 </a:t>
            </a:r>
            <a:r>
              <a:rPr lang="en-US" altLang="zh-CN">
                <a:latin typeface="新宋体" pitchFamily="49" charset="-122"/>
                <a:ea typeface="新宋体" pitchFamily="49" charset="-122"/>
              </a:rPr>
              <a:t>010-51905758</a:t>
            </a:r>
            <a:r>
              <a:rPr lang="zh-CN" altLang="en-US"/>
              <a:t>　</a:t>
            </a:r>
            <a:r>
              <a:rPr lang="zh-CN" altLang="en-US">
                <a:latin typeface="Bookman" pitchFamily="18" charset="0"/>
              </a:rPr>
              <a:t>Ｈ</a:t>
            </a:r>
            <a:r>
              <a:rPr lang="en-US" altLang="zh-CN">
                <a:latin typeface="Bookman" pitchFamily="18" charset="0"/>
              </a:rPr>
              <a:t>ttp://www.easthome.com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咨询热线 </a:t>
            </a:r>
            <a:r>
              <a:rPr lang="en-US" altLang="zh-CN">
                <a:latin typeface="新宋体" pitchFamily="49" charset="-122"/>
                <a:ea typeface="新宋体" pitchFamily="49" charset="-122"/>
              </a:rPr>
              <a:t>010-51905758</a:t>
            </a:r>
            <a:r>
              <a:rPr lang="zh-CN" altLang="en-US"/>
              <a:t>　</a:t>
            </a:r>
            <a:r>
              <a:rPr lang="zh-CN" altLang="en-US">
                <a:latin typeface="Bookman" pitchFamily="18" charset="0"/>
              </a:rPr>
              <a:t>Ｈ</a:t>
            </a:r>
            <a:r>
              <a:rPr lang="en-US" altLang="zh-CN">
                <a:latin typeface="Bookman" pitchFamily="18" charset="0"/>
              </a:rPr>
              <a:t>ttp://www.easthome.com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C784E5-4C2B-4462-BFBC-DA3E8DA9B26D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咨询热线 </a:t>
            </a:r>
            <a:r>
              <a:rPr lang="en-US" altLang="zh-CN">
                <a:latin typeface="新宋体" pitchFamily="49" charset="-122"/>
                <a:ea typeface="新宋体" pitchFamily="49" charset="-122"/>
              </a:rPr>
              <a:t>010-51905758</a:t>
            </a:r>
            <a:r>
              <a:rPr lang="zh-CN" altLang="en-US"/>
              <a:t>　</a:t>
            </a:r>
            <a:r>
              <a:rPr lang="zh-CN" altLang="en-US">
                <a:latin typeface="Bookman" pitchFamily="18" charset="0"/>
              </a:rPr>
              <a:t>Ｈ</a:t>
            </a:r>
            <a:r>
              <a:rPr lang="en-US" altLang="zh-CN">
                <a:latin typeface="Bookman" pitchFamily="18" charset="0"/>
              </a:rPr>
              <a:t>ttp://www.easthome.com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7655C7-9AF5-4D02-B6B2-E59BB2DEE36B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咨询热线 </a:t>
            </a:r>
            <a:r>
              <a:rPr lang="en-US" altLang="zh-CN">
                <a:latin typeface="新宋体" pitchFamily="49" charset="-122"/>
                <a:ea typeface="新宋体" pitchFamily="49" charset="-122"/>
              </a:rPr>
              <a:t>010-51905758</a:t>
            </a:r>
            <a:r>
              <a:rPr lang="zh-CN" altLang="en-US"/>
              <a:t>　</a:t>
            </a:r>
            <a:r>
              <a:rPr lang="zh-CN" altLang="en-US">
                <a:latin typeface="Bookman" pitchFamily="18" charset="0"/>
              </a:rPr>
              <a:t>Ｈ</a:t>
            </a:r>
            <a:r>
              <a:rPr lang="en-US" altLang="zh-CN">
                <a:latin typeface="Bookman" pitchFamily="18" charset="0"/>
              </a:rPr>
              <a:t>ttp://www.easthome.com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B2BA1B-9045-4C67-80D2-067CA00ABD12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咨询热线 </a:t>
            </a:r>
            <a:r>
              <a:rPr lang="en-US" altLang="zh-CN">
                <a:latin typeface="新宋体" pitchFamily="49" charset="-122"/>
                <a:ea typeface="新宋体" pitchFamily="49" charset="-122"/>
              </a:rPr>
              <a:t>010-51905758</a:t>
            </a:r>
            <a:r>
              <a:rPr lang="zh-CN" altLang="en-US"/>
              <a:t>　</a:t>
            </a:r>
            <a:r>
              <a:rPr lang="zh-CN" altLang="en-US">
                <a:latin typeface="Bookman" pitchFamily="18" charset="0"/>
              </a:rPr>
              <a:t>Ｈ</a:t>
            </a:r>
            <a:r>
              <a:rPr lang="en-US" altLang="zh-CN">
                <a:latin typeface="Bookman" pitchFamily="18" charset="0"/>
              </a:rPr>
              <a:t>ttp://www.easthome.com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75408A-0640-421A-A617-BE979493DA69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咨询热线 </a:t>
            </a:r>
            <a:r>
              <a:rPr lang="en-US" altLang="zh-CN">
                <a:latin typeface="新宋体" pitchFamily="49" charset="-122"/>
                <a:ea typeface="新宋体" pitchFamily="49" charset="-122"/>
              </a:rPr>
              <a:t>010-51905758</a:t>
            </a:r>
            <a:r>
              <a:rPr lang="zh-CN" altLang="en-US"/>
              <a:t>　</a:t>
            </a:r>
            <a:r>
              <a:rPr lang="zh-CN" altLang="en-US">
                <a:latin typeface="Bookman" pitchFamily="18" charset="0"/>
              </a:rPr>
              <a:t>Ｈ</a:t>
            </a:r>
            <a:r>
              <a:rPr lang="en-US" altLang="zh-CN">
                <a:latin typeface="Bookman" pitchFamily="18" charset="0"/>
              </a:rPr>
              <a:t>ttp://www.easthome.com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E9D324-0D4C-4461-A810-3D7C46C82ECD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咨询热线 </a:t>
            </a:r>
            <a:r>
              <a:rPr lang="en-US" altLang="zh-CN">
                <a:latin typeface="新宋体" pitchFamily="49" charset="-122"/>
                <a:ea typeface="新宋体" pitchFamily="49" charset="-122"/>
              </a:rPr>
              <a:t>010-51905758</a:t>
            </a:r>
            <a:r>
              <a:rPr lang="zh-CN" altLang="en-US"/>
              <a:t>　</a:t>
            </a:r>
            <a:r>
              <a:rPr lang="zh-CN" altLang="en-US">
                <a:latin typeface="Bookman" pitchFamily="18" charset="0"/>
              </a:rPr>
              <a:t>Ｈ</a:t>
            </a:r>
            <a:r>
              <a:rPr lang="en-US" altLang="zh-CN">
                <a:latin typeface="Bookman" pitchFamily="18" charset="0"/>
              </a:rPr>
              <a:t>ttp://www.easthome.com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9336B6-84A6-4277-90A0-96A2E65DB3EA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/>
              <a:t>咨询热线 </a:t>
            </a:r>
            <a:r>
              <a:rPr lang="en-US" altLang="zh-CN">
                <a:latin typeface="新宋体" pitchFamily="49" charset="-122"/>
                <a:ea typeface="新宋体" pitchFamily="49" charset="-122"/>
              </a:rPr>
              <a:t>010-51905758</a:t>
            </a:r>
            <a:r>
              <a:rPr lang="zh-CN" altLang="en-US"/>
              <a:t>　</a:t>
            </a:r>
            <a:r>
              <a:rPr lang="zh-CN" altLang="en-US">
                <a:latin typeface="Bookman" pitchFamily="18" charset="0"/>
              </a:rPr>
              <a:t>Ｈ</a:t>
            </a:r>
            <a:r>
              <a:rPr lang="en-US" altLang="zh-CN">
                <a:latin typeface="Bookman" pitchFamily="18" charset="0"/>
              </a:rPr>
              <a:t>ttp://www.easthome.com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CF6017-B554-4E43-B876-7823483679C9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AutoShape 8"/>
          <p:cNvSpPr>
            <a:spLocks noChangeArrowheads="1"/>
          </p:cNvSpPr>
          <p:nvPr/>
        </p:nvSpPr>
        <p:spPr bwMode="auto">
          <a:xfrm>
            <a:off x="0" y="0"/>
            <a:ext cx="8027988" cy="981075"/>
          </a:xfrm>
          <a:prstGeom prst="flowChartDocument">
            <a:avLst/>
          </a:prstGeom>
          <a:gradFill rotWithShape="1">
            <a:gsLst>
              <a:gs pos="0">
                <a:schemeClr val="accent2"/>
              </a:gs>
              <a:gs pos="100000">
                <a:schemeClr val="accent2">
                  <a:gamma/>
                  <a:tint val="0"/>
                  <a:invGamma/>
                  <a:alpha val="0"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zh-CN" altLang="zh-CN">
              <a:latin typeface="Arial" charset="0"/>
            </a:endParaRPr>
          </a:p>
        </p:txBody>
      </p:sp>
      <p:sp>
        <p:nvSpPr>
          <p:cNvPr id="14" name="AutoShape 9"/>
          <p:cNvSpPr>
            <a:spLocks noChangeArrowheads="1"/>
          </p:cNvSpPr>
          <p:nvPr/>
        </p:nvSpPr>
        <p:spPr bwMode="auto">
          <a:xfrm>
            <a:off x="0" y="0"/>
            <a:ext cx="8027988" cy="836613"/>
          </a:xfrm>
          <a:prstGeom prst="flowChartDocument">
            <a:avLst/>
          </a:prstGeom>
          <a:gradFill rotWithShape="1">
            <a:gsLst>
              <a:gs pos="0">
                <a:srgbClr val="333399"/>
              </a:gs>
              <a:gs pos="100000">
                <a:srgbClr val="333399">
                  <a:gamma/>
                  <a:tint val="0"/>
                  <a:invGamma/>
                  <a:alpha val="0"/>
                </a:srgb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zh-CN" altLang="zh-CN">
              <a:latin typeface="Arial" charset="0"/>
            </a:endParaRPr>
          </a:p>
        </p:txBody>
      </p:sp>
      <p:pic>
        <p:nvPicPr>
          <p:cNvPr id="15" name="Picture 10" descr="2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280400" y="0"/>
            <a:ext cx="863600" cy="1139825"/>
          </a:xfrm>
          <a:prstGeom prst="rect">
            <a:avLst/>
          </a:prstGeom>
          <a:noFill/>
          <a:effectLst>
            <a:outerShdw dist="53882" dir="2700000" algn="ctr" rotWithShape="0">
              <a:schemeClr val="bg1">
                <a:alpha val="50000"/>
              </a:schemeClr>
            </a:outerShdw>
          </a:effectLst>
        </p:spPr>
      </p:pic>
      <p:sp>
        <p:nvSpPr>
          <p:cNvPr id="16" name="Rectangle 11"/>
          <p:cNvSpPr>
            <a:spLocks noChangeArrowheads="1"/>
          </p:cNvSpPr>
          <p:nvPr/>
        </p:nvSpPr>
        <p:spPr bwMode="auto">
          <a:xfrm>
            <a:off x="0" y="6551613"/>
            <a:ext cx="9144000" cy="333375"/>
          </a:xfrm>
          <a:prstGeom prst="rect">
            <a:avLst/>
          </a:prstGeom>
          <a:solidFill>
            <a:srgbClr val="333399"/>
          </a:solidFill>
          <a:ln w="9525">
            <a:noFill/>
            <a:miter lim="800000"/>
            <a:headEnd/>
            <a:tailEnd/>
          </a:ln>
          <a:effectLst>
            <a:outerShdw dist="76200" dir="162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zh-CN" altLang="en-US">
              <a:latin typeface="Arial" charset="0"/>
            </a:endParaRPr>
          </a:p>
        </p:txBody>
      </p:sp>
      <p:sp>
        <p:nvSpPr>
          <p:cNvPr id="17" name="Text Box 12"/>
          <p:cNvSpPr txBox="1">
            <a:spLocks noChangeArrowheads="1"/>
          </p:cNvSpPr>
          <p:nvPr/>
        </p:nvSpPr>
        <p:spPr bwMode="auto">
          <a:xfrm>
            <a:off x="250825" y="117475"/>
            <a:ext cx="324008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zh-CN" altLang="en-US" sz="1200" b="1" dirty="0">
                <a:solidFill>
                  <a:schemeClr val="bg1"/>
                </a:solidFill>
                <a:latin typeface="幼圆" pitchFamily="49" charset="-122"/>
                <a:ea typeface="幼圆" pitchFamily="49" charset="-122"/>
              </a:rPr>
              <a:t>创新  诚信  勤奋  双赢</a:t>
            </a:r>
          </a:p>
          <a:p>
            <a:pPr>
              <a:spcBef>
                <a:spcPct val="50000"/>
              </a:spcBef>
              <a:defRPr/>
            </a:pPr>
            <a:r>
              <a:rPr lang="en-US" altLang="zh-CN" sz="1000" b="1" dirty="0">
                <a:solidFill>
                  <a:schemeClr val="bg1"/>
                </a:solidFill>
                <a:latin typeface="Arial" charset="0"/>
              </a:rPr>
              <a:t>Innovation, Honesty,</a:t>
            </a:r>
            <a:r>
              <a:rPr lang="en-US" altLang="zh-CN" sz="900" b="1" dirty="0">
                <a:solidFill>
                  <a:schemeClr val="bg1"/>
                </a:solidFill>
                <a:latin typeface="Arial" charset="0"/>
              </a:rPr>
              <a:t> Diligence</a:t>
            </a:r>
            <a:r>
              <a:rPr lang="en-US" altLang="zh-CN" sz="900" dirty="0">
                <a:latin typeface="Arial" charset="0"/>
              </a:rPr>
              <a:t> </a:t>
            </a:r>
            <a:r>
              <a:rPr lang="en-US" altLang="zh-CN" sz="1000" b="1" dirty="0">
                <a:solidFill>
                  <a:schemeClr val="bg1"/>
                </a:solidFill>
                <a:latin typeface="Arial" charset="0"/>
              </a:rPr>
              <a:t>, Win-win </a:t>
            </a:r>
          </a:p>
        </p:txBody>
      </p:sp>
      <p:sp>
        <p:nvSpPr>
          <p:cNvPr id="18" name="Rectangle 13"/>
          <p:cNvSpPr>
            <a:spLocks noChangeArrowheads="1"/>
          </p:cNvSpPr>
          <p:nvPr/>
        </p:nvSpPr>
        <p:spPr bwMode="auto">
          <a:xfrm>
            <a:off x="1331913" y="4221163"/>
            <a:ext cx="64008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>
              <a:spcBef>
                <a:spcPct val="20000"/>
              </a:spcBef>
              <a:defRPr/>
            </a:pPr>
            <a:r>
              <a:rPr lang="zh-CN" altLang="en-US" sz="2000" b="1">
                <a:latin typeface="Batang" pitchFamily="18" charset="-127"/>
                <a:ea typeface="Batang" pitchFamily="18" charset="-127"/>
              </a:rPr>
              <a:t>东方瑞通（北京）咨询服务有限公司</a:t>
            </a:r>
          </a:p>
          <a:p>
            <a:pPr algn="ctr">
              <a:spcBef>
                <a:spcPct val="20000"/>
              </a:spcBef>
              <a:defRPr/>
            </a:pPr>
            <a:r>
              <a:rPr lang="en-US" altLang="zh-CN" sz="2000" b="1">
                <a:latin typeface="Batang" pitchFamily="18" charset="-127"/>
                <a:ea typeface="Batang" pitchFamily="18" charset="-127"/>
              </a:rPr>
              <a:t>Easthome(Beijing)Consulting&amp;Service Co.,Ltd</a:t>
            </a:r>
          </a:p>
        </p:txBody>
      </p:sp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19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553200"/>
            <a:ext cx="2133600" cy="4762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chemeClr val="bg1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39975" y="6553200"/>
            <a:ext cx="4392613" cy="4762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200" b="1">
                <a:solidFill>
                  <a:schemeClr val="bg1"/>
                </a:solidFill>
                <a:latin typeface="幼圆" pitchFamily="49" charset="-122"/>
                <a:ea typeface="幼圆" pitchFamily="49" charset="-122"/>
              </a:defRPr>
            </a:lvl1pPr>
          </a:lstStyle>
          <a:p>
            <a:pPr>
              <a:defRPr/>
            </a:pPr>
            <a:r>
              <a:rPr lang="zh-CN" altLang="en-US"/>
              <a:t>咨询热线 </a:t>
            </a:r>
            <a:r>
              <a:rPr lang="en-US" altLang="zh-CN">
                <a:latin typeface="新宋体" pitchFamily="49" charset="-122"/>
                <a:ea typeface="新宋体" pitchFamily="49" charset="-122"/>
              </a:rPr>
              <a:t>010-51905758</a:t>
            </a:r>
            <a:r>
              <a:rPr lang="zh-CN" altLang="en-US"/>
              <a:t>　</a:t>
            </a:r>
            <a:r>
              <a:rPr lang="zh-CN" altLang="en-US">
                <a:latin typeface="Bookman" pitchFamily="18" charset="0"/>
              </a:rPr>
              <a:t>Ｈ</a:t>
            </a:r>
            <a:r>
              <a:rPr lang="en-US" altLang="zh-CN">
                <a:latin typeface="Bookman" pitchFamily="18" charset="0"/>
              </a:rPr>
              <a:t>ttp://www.easthome.com</a:t>
            </a:r>
          </a:p>
        </p:txBody>
      </p:sp>
      <p:sp>
        <p:nvSpPr>
          <p:cNvPr id="21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553200"/>
            <a:ext cx="2133600" cy="4762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bg1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E9B9883D-F191-42D9-9135-84BF3041B576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  <p:sldLayoutId id="2147483663" r:id="rId11"/>
  </p:sldLayoutIdLst>
  <p:hf sldNum="0"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黑体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黑体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黑体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黑体" pitchFamily="2" charset="-122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黑体" pitchFamily="2" charset="-122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黑体" pitchFamily="2" charset="-122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黑体" pitchFamily="2" charset="-122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黑体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grpSp>
        <p:nvGrpSpPr>
          <p:cNvPr id="2052" name="Group 12"/>
          <p:cNvGrpSpPr>
            <a:grpSpLocks/>
          </p:cNvGrpSpPr>
          <p:nvPr/>
        </p:nvGrpSpPr>
        <p:grpSpPr bwMode="auto">
          <a:xfrm>
            <a:off x="0" y="0"/>
            <a:ext cx="8027988" cy="476250"/>
            <a:chOff x="0" y="0"/>
            <a:chExt cx="5057" cy="618"/>
          </a:xfrm>
        </p:grpSpPr>
        <p:sp>
          <p:nvSpPr>
            <p:cNvPr id="1031" name="AutoShape 7"/>
            <p:cNvSpPr>
              <a:spLocks noChangeArrowheads="1"/>
            </p:cNvSpPr>
            <p:nvPr/>
          </p:nvSpPr>
          <p:spPr bwMode="auto">
            <a:xfrm>
              <a:off x="0" y="0"/>
              <a:ext cx="5057" cy="618"/>
            </a:xfrm>
            <a:prstGeom prst="flowChartDocument">
              <a:avLst/>
            </a:prstGeom>
            <a:gradFill rotWithShape="1">
              <a:gsLst>
                <a:gs pos="0">
                  <a:schemeClr val="accent2"/>
                </a:gs>
                <a:gs pos="100000">
                  <a:schemeClr val="accent2">
                    <a:gamma/>
                    <a:tint val="0"/>
                    <a:invGamma/>
                    <a:alpha val="0"/>
                  </a:scheme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zh-CN" altLang="zh-CN">
                <a:latin typeface="Arial" charset="0"/>
              </a:endParaRPr>
            </a:p>
          </p:txBody>
        </p:sp>
        <p:sp>
          <p:nvSpPr>
            <p:cNvPr id="1032" name="AutoShape 8"/>
            <p:cNvSpPr>
              <a:spLocks noChangeArrowheads="1"/>
            </p:cNvSpPr>
            <p:nvPr/>
          </p:nvSpPr>
          <p:spPr bwMode="auto">
            <a:xfrm>
              <a:off x="0" y="0"/>
              <a:ext cx="5057" cy="527"/>
            </a:xfrm>
            <a:prstGeom prst="flowChartDocument">
              <a:avLst/>
            </a:prstGeom>
            <a:gradFill rotWithShape="1">
              <a:gsLst>
                <a:gs pos="0">
                  <a:srgbClr val="333399"/>
                </a:gs>
                <a:gs pos="100000">
                  <a:srgbClr val="333399">
                    <a:gamma/>
                    <a:tint val="0"/>
                    <a:invGamma/>
                    <a:alpha val="0"/>
                  </a:srgb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zh-CN" altLang="zh-CN">
                <a:latin typeface="Arial" charset="0"/>
              </a:endParaRPr>
            </a:p>
          </p:txBody>
        </p:sp>
      </p:grpSp>
      <p:sp>
        <p:nvSpPr>
          <p:cNvPr id="1034" name="Rectangle 10"/>
          <p:cNvSpPr>
            <a:spLocks noChangeArrowheads="1"/>
          </p:cNvSpPr>
          <p:nvPr/>
        </p:nvSpPr>
        <p:spPr bwMode="auto">
          <a:xfrm>
            <a:off x="0" y="6551613"/>
            <a:ext cx="9144000" cy="333375"/>
          </a:xfrm>
          <a:prstGeom prst="rect">
            <a:avLst/>
          </a:prstGeom>
          <a:solidFill>
            <a:srgbClr val="333399"/>
          </a:solidFill>
          <a:ln w="9525">
            <a:noFill/>
            <a:miter lim="800000"/>
            <a:headEnd/>
            <a:tailEnd/>
          </a:ln>
          <a:effectLst>
            <a:outerShdw dist="76200" dir="162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zh-CN" altLang="en-US">
              <a:latin typeface="Arial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553200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chemeClr val="bg1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553200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bg1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3A4F1788-CE9D-4F6D-B4A4-8C5A2B8D972F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sp>
        <p:nvSpPr>
          <p:cNvPr id="1038" name="Text Box 14"/>
          <p:cNvSpPr txBox="1">
            <a:spLocks noChangeArrowheads="1"/>
          </p:cNvSpPr>
          <p:nvPr/>
        </p:nvSpPr>
        <p:spPr bwMode="auto">
          <a:xfrm>
            <a:off x="252413" y="-34925"/>
            <a:ext cx="3240087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zh-CN" altLang="en-US" sz="1200" b="1" dirty="0">
                <a:solidFill>
                  <a:schemeClr val="bg1"/>
                </a:solidFill>
                <a:latin typeface="幼圆" pitchFamily="49" charset="-122"/>
                <a:ea typeface="幼圆" pitchFamily="49" charset="-122"/>
              </a:rPr>
              <a:t>创新  诚信  勤奋  双赢</a:t>
            </a:r>
          </a:p>
          <a:p>
            <a:pPr>
              <a:defRPr/>
            </a:pPr>
            <a:r>
              <a:rPr lang="en-US" altLang="zh-CN" sz="1200" b="1" dirty="0">
                <a:solidFill>
                  <a:schemeClr val="bg1"/>
                </a:solidFill>
                <a:latin typeface="Arial" charset="0"/>
              </a:rPr>
              <a:t>Innovation, Honesty ,Diligence, Win-win</a:t>
            </a:r>
          </a:p>
        </p:txBody>
      </p:sp>
      <p:sp>
        <p:nvSpPr>
          <p:cNvPr id="1039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39975" y="6553200"/>
            <a:ext cx="43926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200" b="1">
                <a:solidFill>
                  <a:schemeClr val="bg1"/>
                </a:solidFill>
                <a:latin typeface="幼圆" pitchFamily="49" charset="-122"/>
                <a:ea typeface="幼圆" pitchFamily="49" charset="-122"/>
              </a:defRPr>
            </a:lvl1pPr>
          </a:lstStyle>
          <a:p>
            <a:pPr>
              <a:defRPr/>
            </a:pPr>
            <a:r>
              <a:rPr lang="zh-CN" altLang="en-US"/>
              <a:t>咨询热线 </a:t>
            </a:r>
            <a:r>
              <a:rPr lang="en-US" altLang="zh-CN">
                <a:latin typeface="新宋体" pitchFamily="49" charset="-122"/>
                <a:ea typeface="新宋体" pitchFamily="49" charset="-122"/>
              </a:rPr>
              <a:t>010-51905758</a:t>
            </a:r>
            <a:r>
              <a:rPr lang="zh-CN" altLang="en-US"/>
              <a:t>　</a:t>
            </a:r>
            <a:r>
              <a:rPr lang="zh-CN" altLang="en-US">
                <a:latin typeface="Bookman" pitchFamily="18" charset="0"/>
              </a:rPr>
              <a:t>Ｈ</a:t>
            </a:r>
            <a:r>
              <a:rPr lang="en-US" altLang="zh-CN">
                <a:latin typeface="Bookman" pitchFamily="18" charset="0"/>
              </a:rPr>
              <a:t>ttp://www.easthome.com</a:t>
            </a:r>
          </a:p>
        </p:txBody>
      </p:sp>
      <p:pic>
        <p:nvPicPr>
          <p:cNvPr id="2059" name="Picture 13" descr="itil_sd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52400" y="5943600"/>
            <a:ext cx="6096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hf sldNum="0"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黑体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黑体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黑体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黑体" pitchFamily="2" charset="-122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黑体" pitchFamily="2" charset="-122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黑体" pitchFamily="2" charset="-122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黑体" pitchFamily="2" charset="-122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黑体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10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8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AutoShape 6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107" name="Rectangle 32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0" y="0"/>
            <a:ext cx="161925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19424" tIns="0" rIns="19424" bIns="0" anchor="ctr"/>
          <a:lstStyle/>
          <a:p>
            <a:r>
              <a:rPr lang="en-US" altLang="zh-CN" sz="1200"/>
              <a:t>10</a:t>
            </a:r>
          </a:p>
        </p:txBody>
      </p:sp>
      <p:sp>
        <p:nvSpPr>
          <p:cNvPr id="47146" name="Rectangle 48"/>
          <p:cNvSpPr>
            <a:spLocks noChangeArrowheads="1"/>
          </p:cNvSpPr>
          <p:nvPr/>
        </p:nvSpPr>
        <p:spPr bwMode="auto">
          <a:xfrm>
            <a:off x="449263" y="4708525"/>
            <a:ext cx="18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zh-CN" altLang="zh-CN" sz="1200">
              <a:ea typeface="Arial Unicode MS" pitchFamily="34" charset="-122"/>
              <a:cs typeface="Arial Unicode MS" pitchFamily="34" charset="-122"/>
            </a:endParaRPr>
          </a:p>
        </p:txBody>
      </p:sp>
      <p:sp>
        <p:nvSpPr>
          <p:cNvPr id="10" name="标题 1"/>
          <p:cNvSpPr txBox="1">
            <a:spLocks/>
          </p:cNvSpPr>
          <p:nvPr/>
        </p:nvSpPr>
        <p:spPr>
          <a:xfrm>
            <a:off x="228600" y="533400"/>
            <a:ext cx="8534400" cy="762000"/>
          </a:xfrm>
          <a:prstGeom prst="rect">
            <a:avLst/>
          </a:prstGeom>
        </p:spPr>
        <p:txBody>
          <a:bodyPr/>
          <a:lstStyle/>
          <a:p>
            <a:pPr eaLnBrk="0" hangingPunct="0">
              <a:lnSpc>
                <a:spcPct val="90000"/>
              </a:lnSpc>
              <a:defRPr/>
            </a:pPr>
            <a:r>
              <a:rPr lang="en-US" altLang="zh-CN" sz="4400" kern="0" dirty="0" smtClean="0">
                <a:latin typeface="+mn-ea"/>
                <a:ea typeface="+mn-ea"/>
                <a:cs typeface="+mj-cs"/>
              </a:rPr>
              <a:t>ITIL</a:t>
            </a:r>
            <a:r>
              <a:rPr lang="zh-CN" altLang="en-US" sz="4400" kern="0" dirty="0" smtClean="0">
                <a:latin typeface="+mn-ea"/>
                <a:ea typeface="+mn-ea"/>
                <a:cs typeface="+mj-cs"/>
              </a:rPr>
              <a:t>落地举例</a:t>
            </a:r>
            <a:r>
              <a:rPr lang="en-US" altLang="zh-CN" sz="4400" kern="0" dirty="0" smtClean="0">
                <a:latin typeface="+mn-ea"/>
                <a:ea typeface="+mn-ea"/>
                <a:cs typeface="+mj-cs"/>
              </a:rPr>
              <a:t>-</a:t>
            </a:r>
            <a:r>
              <a:rPr lang="zh-CN" altLang="en-US" sz="4400" kern="0" dirty="0">
                <a:latin typeface="+mn-ea"/>
                <a:ea typeface="+mn-ea"/>
                <a:cs typeface="+mj-cs"/>
              </a:rPr>
              <a:t>工作量</a:t>
            </a:r>
            <a:r>
              <a:rPr lang="zh-CN" altLang="en-US" sz="4400" kern="0" dirty="0" smtClean="0">
                <a:latin typeface="+mn-ea"/>
                <a:ea typeface="+mn-ea"/>
                <a:cs typeface="+mj-cs"/>
              </a:rPr>
              <a:t>评估表</a:t>
            </a:r>
            <a:endParaRPr lang="zh-CN" altLang="en-US" sz="4400" kern="0" dirty="0">
              <a:latin typeface="+mn-ea"/>
              <a:ea typeface="+mn-ea"/>
              <a:cs typeface="+mj-cs"/>
            </a:endParaRPr>
          </a:p>
        </p:txBody>
      </p:sp>
      <p:graphicFrame>
        <p:nvGraphicFramePr>
          <p:cNvPr id="8" name="内容占位符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0701673"/>
              </p:ext>
            </p:extLst>
          </p:nvPr>
        </p:nvGraphicFramePr>
        <p:xfrm>
          <a:off x="76200" y="1676400"/>
          <a:ext cx="8959850" cy="3906838"/>
        </p:xfrm>
        <a:graphic>
          <a:graphicData uri="http://schemas.openxmlformats.org/drawingml/2006/table">
            <a:tbl>
              <a:tblPr/>
              <a:tblGrid>
                <a:gridCol w="762000"/>
                <a:gridCol w="457200"/>
                <a:gridCol w="762000"/>
                <a:gridCol w="990600"/>
                <a:gridCol w="1066800"/>
                <a:gridCol w="914400"/>
                <a:gridCol w="990600"/>
                <a:gridCol w="1143000"/>
                <a:gridCol w="1066800"/>
                <a:gridCol w="806450"/>
              </a:tblGrid>
              <a:tr h="11588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任务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E3A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服务器</a:t>
                      </a:r>
                      <a:endParaRPr kumimoji="0" lang="en-US" altLang="zh-CN" sz="14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个数</a:t>
                      </a:r>
                      <a:endParaRPr kumimoji="0" lang="en-US" altLang="zh-CN" sz="14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E3A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每个任务项平均处理小时数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E3A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每台服务器最小的任务项个数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E3A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发生任务项的服务器的最小比率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E3A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预估的最小工作时间（小时）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E3A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每台服务器最大的任务项个数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E3A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发生任务项的服务器的最大比率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4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E3A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预估的最大工作时间（小时）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4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E3A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任务项发生的频率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E3AF8"/>
                    </a:solidFill>
                  </a:tcPr>
                </a:tc>
              </a:tr>
              <a:tr h="2794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用户管理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6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.2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0%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.6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7.6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每天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</a:tr>
              <a:tr h="396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检查系统备份恢复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6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.5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%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.3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0%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6.9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每天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</a:tr>
              <a:tr h="3000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简单问题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6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.6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80%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2.08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00%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7.6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每天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</a:tr>
              <a:tr h="396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重大紧急问题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6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kumimoji="0" lang="zh-CN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0%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7.6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0%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24.2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每天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</a:tr>
              <a:tr h="244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补丁升级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6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%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2.42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%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2.42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每季度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</a:tr>
              <a:tr h="396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安全健康检查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46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.5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%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.07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9%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.07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每季度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</a:tr>
              <a:tr h="244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存储管理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4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0.5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0%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3.5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50%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每天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</a:tr>
              <a:tr h="244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文档管理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无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无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无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无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无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每天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</a:tr>
              <a:tr h="244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总和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75.57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209.79</a:t>
                      </a:r>
                      <a:endParaRPr kumimoji="0" lang="zh-CN" alt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CC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62911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HeVz_ByTEeo4PgtulzKHA"/>
</p:tagLst>
</file>

<file path=ppt/theme/theme1.xml><?xml version="1.0" encoding="utf-8"?>
<a:theme xmlns:a="http://schemas.openxmlformats.org/drawingml/2006/main" name="1_瑞通PPT模板">
  <a:themeElements>
    <a:clrScheme name="1_瑞通PPT模板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1_瑞通PPT模板">
      <a:majorFont>
        <a:latin typeface="Arial"/>
        <a:ea typeface="黑体"/>
        <a:cs typeface=""/>
      </a:majorFont>
      <a:minorFont>
        <a:latin typeface="Arial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瑞通PPT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瑞通PPT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瑞通PPT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瑞通PPT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瑞通PPT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瑞通PPT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瑞通PPT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瑞通PPT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瑞通PPT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瑞通PPT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瑞通PPT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瑞通PPT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瑞通PPT模板-蓝-0711">
  <a:themeElements>
    <a:clrScheme name="瑞通PPT模板-蓝-0711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瑞通PPT模板-蓝-0711">
      <a:majorFont>
        <a:latin typeface="Arial"/>
        <a:ea typeface="黑体"/>
        <a:cs typeface=""/>
      </a:majorFont>
      <a:minorFont>
        <a:latin typeface="Arial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瑞通PPT模板-蓝-071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瑞通PPT模板-蓝-071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瑞通PPT模板-蓝-071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瑞通PPT模板-蓝-071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瑞通PPT模板-蓝-071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瑞通PPT模板-蓝-071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瑞通PPT模板-蓝-071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瑞通PPT模板-蓝-071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瑞通PPT模板-蓝-071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瑞通PPT模板-蓝-071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瑞通PPT模板-蓝-071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瑞通PPT模板-蓝-071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模版-ITIL</Template>
  <TotalTime>4136</TotalTime>
  <Words>178</Words>
  <Application>Microsoft Office PowerPoint</Application>
  <PresentationFormat>全屏显示(4:3)</PresentationFormat>
  <Paragraphs>97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1</vt:i4>
      </vt:variant>
    </vt:vector>
  </HeadingPairs>
  <TitlesOfParts>
    <vt:vector size="13" baseType="lpstr">
      <vt:lpstr>Arial Unicode MS</vt:lpstr>
      <vt:lpstr>Batang</vt:lpstr>
      <vt:lpstr>Bookman</vt:lpstr>
      <vt:lpstr>黑体</vt:lpstr>
      <vt:lpstr>华文宋体</vt:lpstr>
      <vt:lpstr>宋体</vt:lpstr>
      <vt:lpstr>微软雅黑</vt:lpstr>
      <vt:lpstr>新宋体</vt:lpstr>
      <vt:lpstr>幼圆</vt:lpstr>
      <vt:lpstr>Arial</vt:lpstr>
      <vt:lpstr>1_瑞通PPT模板</vt:lpstr>
      <vt:lpstr>瑞通PPT模板-蓝-0711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祝文彬</dc:creator>
  <cp:lastModifiedBy>Tong Liu</cp:lastModifiedBy>
  <cp:revision>457</cp:revision>
  <cp:lastPrinted>1601-01-01T00:00:00Z</cp:lastPrinted>
  <dcterms:created xsi:type="dcterms:W3CDTF">1601-01-01T00:00:00Z</dcterms:created>
  <dcterms:modified xsi:type="dcterms:W3CDTF">2016-07-06T04:02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</vt:i4>
  </property>
</Properties>
</file>